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14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9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11</cp:revision>
  <dcterms:created xsi:type="dcterms:W3CDTF">2013-08-01T03:39:28Z</dcterms:created>
  <dcterms:modified xsi:type="dcterms:W3CDTF">2019-04-29T07:33:11Z</dcterms:modified>
</cp:coreProperties>
</file>